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18" r:id="rId4"/>
  </p:sldMasterIdLst>
  <p:notesMasterIdLst>
    <p:notesMasterId r:id="rId7"/>
  </p:notesMasterIdLst>
  <p:handoutMasterIdLst>
    <p:handoutMasterId r:id="rId8"/>
  </p:handoutMasterIdLst>
  <p:sldIdLst>
    <p:sldId id="291" r:id="rId5"/>
    <p:sldId id="288" r:id="rId6"/>
  </p:sldIdLst>
  <p:sldSz cx="12192000" cy="6858000"/>
  <p:notesSz cx="6858000" cy="9144000"/>
  <p:embeddedFontLst>
    <p:embeddedFont>
      <p:font typeface="SKF Sans Office" pitchFamily="2" charset="0"/>
      <p:regular r:id="rId9"/>
      <p:bold r:id="rId10"/>
      <p:italic r:id="rId11"/>
      <p:boldItalic r:id="rId12"/>
    </p:embeddedFont>
  </p:embeddedFont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 showGuides="1">
      <p:cViewPr varScale="1">
        <p:scale>
          <a:sx n="91" d="100"/>
          <a:sy n="91" d="100"/>
        </p:scale>
        <p:origin x="322" y="5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30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 R Johansson" userId="e3487eb3-2c0f-4fbc-bab1-e77fd20911e5" providerId="ADAL" clId="{9404F901-8C9E-410A-8976-63A2862B901C}"/>
    <pc:docChg chg="modSld">
      <pc:chgData name="Peter R Johansson" userId="e3487eb3-2c0f-4fbc-bab1-e77fd20911e5" providerId="ADAL" clId="{9404F901-8C9E-410A-8976-63A2862B901C}" dt="2025-08-15T14:20:27.168" v="79" actId="20577"/>
      <pc:docMkLst>
        <pc:docMk/>
      </pc:docMkLst>
      <pc:sldChg chg="modSp mod">
        <pc:chgData name="Peter R Johansson" userId="e3487eb3-2c0f-4fbc-bab1-e77fd20911e5" providerId="ADAL" clId="{9404F901-8C9E-410A-8976-63A2862B901C}" dt="2025-08-15T14:20:27.168" v="79" actId="20577"/>
        <pc:sldMkLst>
          <pc:docMk/>
          <pc:sldMk cId="2518263017" sldId="288"/>
        </pc:sldMkLst>
        <pc:graphicFrameChg chg="modGraphic">
          <ac:chgData name="Peter R Johansson" userId="e3487eb3-2c0f-4fbc-bab1-e77fd20911e5" providerId="ADAL" clId="{9404F901-8C9E-410A-8976-63A2862B901C}" dt="2025-08-15T14:20:27.168" v="79" actId="20577"/>
          <ac:graphicFrameMkLst>
            <pc:docMk/>
            <pc:sldMk cId="2518263017" sldId="288"/>
            <ac:graphicFrameMk id="6" creationId="{95942BAF-7652-A01C-E479-44E6D164560F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heme" Target="../theme/theme3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B8617F-C86B-E405-F12E-5C134B237DD5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4613" y="255600"/>
            <a:ext cx="2971800" cy="198000"/>
          </a:xfrm>
          <a:prstGeom prst="rect">
            <a:avLst/>
          </a:prstGeom>
        </p:spPr>
        <p:txBody>
          <a:bodyPr vert="horz" lIns="180000" tIns="45720" rIns="180000" bIns="45720" rtlCol="0"/>
          <a:lstStyle>
            <a:lvl1pPr algn="l">
              <a:defRPr sz="1200"/>
            </a:lvl1pPr>
          </a:lstStyle>
          <a:p>
            <a:pPr algn="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D80244-4EED-1AED-480A-BCA287DAF25C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57600"/>
            <a:ext cx="2971800" cy="198000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sz="1200"/>
            </a:lvl1pPr>
          </a:lstStyle>
          <a:p>
            <a:fld id="{EBA3F5FE-B313-4CC5-9877-A3C5F2FA460D}" type="datetimeFigureOut">
              <a:rPr lang="en-GB" sz="800" smtClean="0"/>
              <a:t>15/08/2025</a:t>
            </a:fld>
            <a:endParaRPr lang="en-GB" sz="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30D8F8-A179-4259-2959-1E86837A343E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70426-4D8B-8F32-F2B0-987CF91A8196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180000" bIns="45720" rtlCol="0" anchor="b"/>
          <a:lstStyle>
            <a:lvl1pPr algn="r">
              <a:defRPr sz="1200"/>
            </a:lvl1pPr>
          </a:lstStyle>
          <a:p>
            <a:fld id="{A9B4B3A3-9309-498B-B371-4C6825A40C15}" type="slidenum">
              <a:rPr lang="en-GB" sz="800" smtClean="0"/>
              <a:t>‹#›</a:t>
            </a:fld>
            <a:endParaRPr lang="en-GB" sz="800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A3794F8B-D116-A333-4A51-B5BFD605C7A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76360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heme" Target="../theme/theme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6200" y="254033"/>
            <a:ext cx="2971800" cy="197117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lang="en-GB" dirty="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56916"/>
            <a:ext cx="2971800" cy="197117"/>
          </a:xfrm>
          <a:prstGeom prst="rect">
            <a:avLst/>
          </a:prstGeom>
        </p:spPr>
        <p:txBody>
          <a:bodyPr vert="horz" lIns="144000" tIns="45720" rIns="180000" bIns="45720" rtlCol="0"/>
          <a:lstStyle>
            <a:lvl1pPr algn="r">
              <a:defRPr sz="800"/>
            </a:lvl1pPr>
          </a:lstStyle>
          <a:p>
            <a:fld id="{153DBB42-01C3-4D3C-8D5A-C1C44836255C}" type="datetimeFigureOut">
              <a:rPr lang="en-GB" smtClean="0"/>
              <a:pPr/>
              <a:t>15/08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1518752" y="684212"/>
            <a:ext cx="3820495" cy="21490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3131957"/>
            <a:ext cx="5486400" cy="51962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lang="en-GB" dirty="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44000" tIns="45720" rIns="180000" bIns="45720" rtlCol="0" anchor="b"/>
          <a:lstStyle>
            <a:lvl1pPr algn="r">
              <a:defRPr sz="800"/>
            </a:lvl1pPr>
          </a:lstStyle>
          <a:p>
            <a:fld id="{2C5552FE-2C19-4684-9D2B-568549EFB4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958A3FA-35C4-A387-9DCC-FFA001FEC8C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556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CB348-8279-41F3-9980-A1172114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7050" y="2508250"/>
            <a:ext cx="7204550" cy="5436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sz="3200" cap="all" baseline="0"/>
            </a:lvl1pPr>
          </a:lstStyle>
          <a:p>
            <a:r>
              <a:rPr lang="en-GB" noProof="0" dirty="0"/>
              <a:t>ENTER TITLE – JUST ONE LINE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0C32FF60-6FE8-4461-972D-A358F17082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40000" y="2520000"/>
            <a:ext cx="2286000" cy="54292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A584E0-8547-4EBA-93A4-9919707E8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7050" y="3218400"/>
            <a:ext cx="7204550" cy="1080000"/>
          </a:xfrm>
          <a:prstGeom prst="rect">
            <a:avLst/>
          </a:prstGeom>
        </p:spPr>
        <p:txBody>
          <a:bodyPr/>
          <a:lstStyle>
            <a:lvl1pPr algn="l">
              <a:defRPr sz="2000"/>
            </a:lvl1pPr>
          </a:lstStyle>
          <a:p>
            <a:pPr lvl="0"/>
            <a:r>
              <a:rPr lang="en-GB" noProof="0" dirty="0"/>
              <a:t>Enter 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37962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580">
          <p15:clr>
            <a:srgbClr val="FBAE40"/>
          </p15:clr>
        </p15:guide>
        <p15:guide id="2" pos="27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2876028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A68000-1941-4DA0-8A1F-8EBDA65AC0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388" y="1209600"/>
            <a:ext cx="11833200" cy="546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903779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7699F8D-C613-4ED6-B268-165946804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31775-1B7D-4040-AEE6-E0835CF3DE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38DDC05-C5AB-4C50-8C8B-94920D70AB40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9D35D-17DA-41F7-B040-E653B35AA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9481771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D2C7A91-7897-4A7F-B8EA-CB6C7D0C4EF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184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EB2EF7F-9324-4D4B-A1BF-484815D98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06B3B19-5004-46F2-9182-14C12B310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74DD411-81C5-4603-B808-749A1C239570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972EF5-9A3B-49A1-967A-27C8B73DE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68203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2634">
          <p15:clr>
            <a:srgbClr val="FBAE40"/>
          </p15:clr>
        </p15:guide>
        <p15:guide id="3" pos="2526">
          <p15:clr>
            <a:srgbClr val="FBAE40"/>
          </p15:clr>
        </p15:guide>
        <p15:guide id="4" pos="5046">
          <p15:clr>
            <a:srgbClr val="FBAE40"/>
          </p15:clr>
        </p15:guide>
        <p15:guide id="5" pos="5157">
          <p15:clr>
            <a:srgbClr val="FBAE40"/>
          </p15:clr>
        </p15:guide>
        <p15:guide id="9" orient="horz" pos="2219">
          <p15:clr>
            <a:srgbClr val="FBAE40"/>
          </p15:clr>
        </p15:guide>
        <p15:guide id="10" orient="horz" pos="233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40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40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56539C1-C96B-42D7-A2AF-A41692CC4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44E3066-EB01-4F22-9F1F-105C178506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55410AF6-44BC-406B-8801-DFE9D5170784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86747B-BDEC-470C-887F-962A57571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16607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2526">
          <p15:clr>
            <a:srgbClr val="FBAE40"/>
          </p15:clr>
        </p15:guide>
        <p15:guide id="3" pos="2634">
          <p15:clr>
            <a:srgbClr val="FBAE40"/>
          </p15:clr>
        </p15:guide>
        <p15:guide id="4" pos="5046">
          <p15:clr>
            <a:srgbClr val="FBAE40"/>
          </p15:clr>
        </p15:guide>
        <p15:guide id="5" pos="5154">
          <p15:clr>
            <a:srgbClr val="FBAE40"/>
          </p15:clr>
        </p15:guide>
        <p15:guide id="8" orient="horz" pos="2220">
          <p15:clr>
            <a:srgbClr val="FBAE40"/>
          </p15:clr>
        </p15:guide>
        <p15:guide id="9" orient="horz" pos="232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1725" y="542925"/>
            <a:ext cx="5825475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80000" y="540000"/>
            <a:ext cx="5832474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2400" y="3703724"/>
            <a:ext cx="58248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7B8610-96BF-44A1-8981-5B8168BF2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17CAAC6-B83C-4A9E-ACBC-601ED50C9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18652A7-B0F6-428C-9C31-0A03897B9ECA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1A3038D-0D73-41B2-B289-D954169673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82967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2220">
          <p15:clr>
            <a:srgbClr val="FBAE40"/>
          </p15:clr>
        </p15:guide>
        <p15:guide id="3" orient="horz" pos="2328">
          <p15:clr>
            <a:srgbClr val="FBAE40"/>
          </p15:clr>
        </p15:guide>
        <p15:guide id="5" pos="3786">
          <p15:clr>
            <a:srgbClr val="FBAE40"/>
          </p15:clr>
        </p15:guide>
        <p15:guide id="6" pos="38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79400" y="540000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8F072AD8-6DAB-4FE3-8463-A9CB6100F7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9400" y="530225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0AE5-9CCC-4EB2-B8D2-4AD89CD5CF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3464D53-8F88-47CD-A26E-22D07D11F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301334B-B605-4392-AC5F-7DA43D2F6916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24513CA-6205-41D3-93B8-757A847A2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7728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3786">
          <p15:clr>
            <a:srgbClr val="FBAE40"/>
          </p15:clr>
        </p15:guide>
        <p15:guide id="3" pos="38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5175B383-099C-41CE-B5AA-384B4E10B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0" y="3157537"/>
            <a:ext cx="2286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754974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39C4020-DCBC-F16F-82E5-8C9F121FA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D282E0F-BB2A-4850-ED35-871BF0C9FB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845D57B-007E-8EA4-68EA-50AF5537F4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9B74534-3A47-9175-8F8B-F4A470DAB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5EB71-E610-4E48-AD8D-4CC852C487CE}" type="datetimeFigureOut">
              <a:rPr lang="sv-SE" smtClean="0"/>
              <a:t>2025-08-15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1A1FE151-A98B-B1F8-1B69-9DC4556A8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3B371B-FEE7-1331-76F5-30C02DDD1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FBD33-E261-474D-8DB9-821F702649E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1029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ACD53D-220E-4DFE-B6B1-6C6131C95ED3}"/>
              </a:ext>
            </a:extLst>
          </p:cNvPr>
          <p:cNvSpPr/>
          <p:nvPr userDrawn="1"/>
        </p:nvSpPr>
        <p:spPr>
          <a:xfrm>
            <a:off x="180000" y="540000"/>
            <a:ext cx="11833200" cy="6156326"/>
          </a:xfrm>
          <a:prstGeom prst="rect">
            <a:avLst/>
          </a:prstGeom>
          <a:solidFill>
            <a:srgbClr val="5F5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18F717A-AEE1-448D-8297-B65D1013C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4588E-EDBE-4767-AE90-F3C3C11E5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877567A-31B7-4D9B-9FA3-529F52DCA7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6292DD6A-D95C-49C4-A09E-49954026D21E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3B8F14C-FF5A-464F-8949-9B00171420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1592059"/>
      </p:ext>
    </p:extLst>
  </p:cSld>
  <p:clrMapOvr>
    <a:masterClrMapping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EB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6A52C3-A678-48E2-BFC2-80EAC5E1D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rgbClr val="000000"/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99653BA-8942-448A-92BF-691B41634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DB38C5D-4587-4253-81D6-06CFFA3E6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5C155B0-E9E6-484D-AC00-BE7E7BE4A6CB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384B32-2192-432D-8DE3-404E08B63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341728"/>
      </p:ext>
    </p:extLst>
  </p:cSld>
  <p:clrMapOvr>
    <a:masterClrMapping/>
  </p:clrMapOvr>
  <p:transition spd="slow">
    <p:push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7862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585AB0-D6AC-4B6E-A764-FD2CAA75A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EEEA16-4FF1-4ABD-A324-59C70EF9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D1589C-4BA5-4AA8-925B-24BE7728E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554AF94-FE31-48FA-98BE-CFBAA400FB83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C6FCC10-3F8E-46FD-8674-BCD3D86F5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992175"/>
      </p:ext>
    </p:extLst>
  </p:cSld>
  <p:clrMapOvr>
    <a:masterClrMapping/>
  </p:clrMapOvr>
  <p:transition spd="slow">
    <p:push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556354-608B-4787-8DE7-B1332BE07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AE61C4-43D1-401F-9D54-F9FB6B080A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677200"/>
            <a:ext cx="5554800" cy="640800"/>
          </a:xfrm>
          <a:prstGeom prst="rect">
            <a:avLst/>
          </a:prstGeom>
          <a:solidFill>
            <a:srgbClr val="000000">
              <a:alpha val="60000"/>
            </a:srgbClr>
          </a:solidFill>
        </p:spPr>
        <p:txBody>
          <a:bodyPr vert="horz" lIns="180000" tIns="180000" rIns="180000" bIns="180000" anchor="b" anchorCtr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noProof="0" dirty="0"/>
              <a:t>Remove this textbox if no caption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68D0A-F18A-4F70-9C7E-31EDA5B7E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CD1D0CB-5FD8-4A4A-812D-7DA6EBEA5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5618C83-F056-4BDA-9D99-02AD24DDBCCC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A006013-28DF-4DE2-BF63-CD8BFE454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338870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3981">
          <p15:clr>
            <a:srgbClr val="FBAE40"/>
          </p15:clr>
        </p15:guide>
        <p15:guide id="3" pos="3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E850CC31-ED22-4F3F-A1B4-0C5FC134945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icon to add media 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E537F4-6FE1-4910-A3DD-AFB5CC963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093B71E-EFD3-45AC-A22F-5587F00ED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1B1C576-E309-4693-80E1-431F7886658E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75D520-DEC3-4D51-8576-4C105CBCA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9093620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107C0F9-0B49-4A3F-88BD-00EFED694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50" y="536575"/>
            <a:ext cx="7399338" cy="18160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8BFA0F4-9C74-4C78-B342-6D09C562D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21A9B79-955C-41CE-B02B-06B2DABD4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C8DA350-5CB0-4463-8133-9E5588E73346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2DC3582-BD3E-48E7-B4A4-089A9CC51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4FB65-B7C5-42A5-8C41-DD17DFE909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93950" y="2517776"/>
            <a:ext cx="7399338" cy="415925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7928363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482">
          <p15:clr>
            <a:srgbClr val="FBAE40"/>
          </p15:clr>
        </p15:guide>
        <p15:guide id="2" pos="1508">
          <p15:clr>
            <a:srgbClr val="FBAE40"/>
          </p15:clr>
        </p15:guide>
        <p15:guide id="3" pos="6169">
          <p15:clr>
            <a:srgbClr val="FBAE40"/>
          </p15:clr>
        </p15:guide>
        <p15:guide id="4" orient="horz" pos="158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0F0F4E-3794-41C1-980B-E757B2EA76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7200000" cy="6138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3A53AC-611C-4659-AC44-69E8130D3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8088" y="536575"/>
            <a:ext cx="4456112" cy="1800000"/>
          </a:xfrm>
          <a:prstGeom prst="rect">
            <a:avLst/>
          </a:prstGeom>
        </p:spPr>
        <p:txBody>
          <a:bodyPr rIns="180000" anchor="b"/>
          <a:lstStyle>
            <a:lvl1pPr>
              <a:defRPr sz="3200"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EC200BA-345F-4D94-8545-3B91E79EF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6D30DFC-88EB-4419-87B7-16A9B0C86B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1C82D8E-5556-4B59-B906-8F750C8D4E62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39D7DD-F191-4C92-B4AA-A3704E825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388983-6D37-4892-852E-C72ACDF10D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8088" y="2537025"/>
            <a:ext cx="4456112" cy="4140000"/>
          </a:xfrm>
        </p:spPr>
        <p:txBody>
          <a:bodyPr rIns="18000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26619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4650">
          <p15:clr>
            <a:srgbClr val="FBAE40"/>
          </p15:clr>
        </p15:guide>
        <p15:guide id="3" pos="47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540000"/>
            <a:ext cx="11070000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and add title – just one lin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49B0FC7-218C-4ED8-AEBF-AEECCA7A9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3ECB66E-0F10-4E1E-AF3A-542B809333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8AC1422E-3668-4382-B9A9-4FD644140E9C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0BAD8-4D41-4514-9ACD-FE581DE8D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7E77CB-6747-49BD-88CB-1119FAF096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0000" y="1208088"/>
            <a:ext cx="5829300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9535B78-6C09-40CA-BE21-62E1ED086F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83313" y="1208088"/>
            <a:ext cx="5830887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158335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784">
          <p15:clr>
            <a:srgbClr val="FBAE40"/>
          </p15:clr>
        </p15:guide>
        <p15:guide id="2" pos="3895">
          <p15:clr>
            <a:srgbClr val="FBAE40"/>
          </p15:clr>
        </p15:guide>
        <p15:guide id="3" orient="horz" pos="76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18B117-0B8E-3C05-24CA-66969151A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699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18B117-0B8E-3C05-24CA-66969151A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4">
            <a:extLst>
              <a:ext uri="{FF2B5EF4-FFF2-40B4-BE49-F238E27FC236}">
                <a16:creationId xmlns:a16="http://schemas.microsoft.com/office/drawing/2014/main" id="{B4E9A893-6AF0-4B8C-9D2D-BBCD0F3AC5D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49025" y="0"/>
            <a:ext cx="942975" cy="542925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BDB4792-2DD8-4659-BDA3-DA8F6094E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800" y="540000"/>
            <a:ext cx="7394400" cy="18034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and add 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6CC0AFF-0D9F-484D-A1E5-C49776BC9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01DABA3-3313-4B89-B1A7-054633806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BF850E8-5C79-47A6-BF51-E088C95CC521}" type="datetime4">
              <a:rPr lang="en-GB" smtClean="0"/>
              <a:pPr/>
              <a:t>15 August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9CD4A9-CDF3-4DD4-BB68-8566C9E3C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51B1-BFD1-4AE9-8EFA-49D9BD1CEB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600" y="2520000"/>
            <a:ext cx="7394400" cy="41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047F48-6415-251E-6033-A72F4B51F10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133940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ransition spd="slow">
    <p:push dir="u"/>
  </p:transition>
  <p:hf sldNum="0"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lang="en-GB"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23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423" rtl="0" eaLnBrk="1" latinLnBrk="0" hangingPunct="1">
        <a:lnSpc>
          <a:spcPct val="90000"/>
        </a:lnSpc>
        <a:spcBef>
          <a:spcPts val="900"/>
        </a:spcBef>
        <a:buSzPct val="90000"/>
        <a:buFont typeface="Calibri Light" panose="020F0302020204030204" pitchFamily="34" charset="0"/>
        <a:buChar char="•"/>
        <a:tabLst>
          <a:tab pos="342000" algn="l"/>
        </a:tabLst>
        <a:defRPr lang="en-US" sz="24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684000" indent="-342000" algn="l" defTabSz="914423" rtl="0" eaLnBrk="1" latinLnBrk="0" hangingPunct="1">
        <a:lnSpc>
          <a:spcPct val="90000"/>
        </a:lnSpc>
        <a:spcBef>
          <a:spcPts val="400"/>
        </a:spcBef>
        <a:buFont typeface="Calibri Light" panose="020F0302020204030204" pitchFamily="34" charset="0"/>
        <a:buChar char="–"/>
        <a:tabLst>
          <a:tab pos="684000" algn="l"/>
        </a:tabLst>
        <a:defRPr lang="en-US" sz="20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26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026000" algn="l"/>
        </a:tabLst>
        <a:defRPr lang="en-US" sz="18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368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368000" algn="l"/>
        </a:tabLst>
        <a:defRPr lang="en-GB" sz="16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4">
          <p15:clr>
            <a:srgbClr val="F26B43"/>
          </p15:clr>
        </p15:guide>
        <p15:guide id="2" orient="horz" pos="4206">
          <p15:clr>
            <a:srgbClr val="F26B43"/>
          </p15:clr>
        </p15:guide>
        <p15:guide id="3" pos="112">
          <p15:clr>
            <a:srgbClr val="F26B43"/>
          </p15:clr>
        </p15:guide>
        <p15:guide id="4" pos="75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658EC5D-DC07-A625-3AC8-09B5E1AEBB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60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58EC5D-DC07-A625-3AC8-09B5E1AEB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6B4776-E1F6-12C1-986F-7BB92DDE0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068" y="536576"/>
            <a:ext cx="8778220" cy="844550"/>
          </a:xfrm>
        </p:spPr>
        <p:txBody>
          <a:bodyPr vert="horz"/>
          <a:lstStyle/>
          <a:p>
            <a:r>
              <a:rPr lang="sv-SE" sz="4400" dirty="0"/>
              <a:t>Borgstena Träningsläger 29/8-1/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7740B7-0172-8124-87F7-C112F5C268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9133" y="1659518"/>
            <a:ext cx="7204333" cy="308026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CD43701-16C7-6D64-3A39-65F330A48A21}"/>
              </a:ext>
            </a:extLst>
          </p:cNvPr>
          <p:cNvSpPr/>
          <p:nvPr/>
        </p:nvSpPr>
        <p:spPr>
          <a:xfrm>
            <a:off x="10582275" y="47626"/>
            <a:ext cx="1514475" cy="590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DCFDC9-A955-7F9B-C553-4D609B2EE1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5170" y="3429000"/>
            <a:ext cx="5071580" cy="316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084989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454DA5-8FE3-02C8-70D0-32093D7AE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02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454DA5-8FE3-02C8-70D0-32093D7AE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1F93017-4DD9-2423-CD16-924C01A0E4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344430"/>
              </p:ext>
            </p:extLst>
          </p:nvPr>
        </p:nvGraphicFramePr>
        <p:xfrm>
          <a:off x="227055" y="1197407"/>
          <a:ext cx="3820160" cy="432364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10080">
                  <a:extLst>
                    <a:ext uri="{9D8B030D-6E8A-4147-A177-3AD203B41FA5}">
                      <a16:colId xmlns:a16="http://schemas.microsoft.com/office/drawing/2014/main" val="2618471783"/>
                    </a:ext>
                  </a:extLst>
                </a:gridCol>
                <a:gridCol w="1910080">
                  <a:extLst>
                    <a:ext uri="{9D8B030D-6E8A-4147-A177-3AD203B41FA5}">
                      <a16:colId xmlns:a16="http://schemas.microsoft.com/office/drawing/2014/main" val="3528999697"/>
                    </a:ext>
                  </a:extLst>
                </a:gridCol>
              </a:tblGrid>
              <a:tr h="468288">
                <a:tc>
                  <a:txBody>
                    <a:bodyPr/>
                    <a:lstStyle/>
                    <a:p>
                      <a:r>
                        <a:rPr lang="sv-SE" dirty="0"/>
                        <a:t>Fredag 29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230124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r>
                        <a:rPr lang="sv-SE" sz="1200" dirty="0"/>
                        <a:t>17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Tillgång hallen/genomgå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31142"/>
                  </a:ext>
                </a:extLst>
              </a:tr>
              <a:tr h="577342">
                <a:tc>
                  <a:txBody>
                    <a:bodyPr/>
                    <a:lstStyle/>
                    <a:p>
                      <a:r>
                        <a:rPr lang="sv-SE" sz="1200" dirty="0"/>
                        <a:t>17.15-17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amling + genomgång helgen + fruk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5905878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r>
                        <a:rPr lang="sv-SE" sz="1200" dirty="0"/>
                        <a:t>18.00-19.30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Handbollsträning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754490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r>
                        <a:rPr lang="sv-SE" sz="1200" dirty="0"/>
                        <a:t>19.30-2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Dus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418685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r>
                        <a:rPr lang="sv-SE" sz="1200" dirty="0"/>
                        <a:t>20.00-2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Middag – Hamburgare</a:t>
                      </a:r>
                      <a:endParaRPr lang="sv-SE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010697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r>
                        <a:rPr lang="sv-SE" sz="1200" dirty="0"/>
                        <a:t>21.00-23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i le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7968008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5157109"/>
                  </a:ext>
                </a:extLst>
              </a:tr>
              <a:tr h="468288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326492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5942BAF-7652-A01C-E479-44E6D1645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3139063"/>
              </p:ext>
            </p:extLst>
          </p:nvPr>
        </p:nvGraphicFramePr>
        <p:xfrm>
          <a:off x="4185920" y="1197408"/>
          <a:ext cx="3820160" cy="478084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10080">
                  <a:extLst>
                    <a:ext uri="{9D8B030D-6E8A-4147-A177-3AD203B41FA5}">
                      <a16:colId xmlns:a16="http://schemas.microsoft.com/office/drawing/2014/main" val="2618471783"/>
                    </a:ext>
                  </a:extLst>
                </a:gridCol>
                <a:gridCol w="1910080">
                  <a:extLst>
                    <a:ext uri="{9D8B030D-6E8A-4147-A177-3AD203B41FA5}">
                      <a16:colId xmlns:a16="http://schemas.microsoft.com/office/drawing/2014/main" val="3528999697"/>
                    </a:ext>
                  </a:extLst>
                </a:gridCol>
              </a:tblGrid>
              <a:tr h="380436">
                <a:tc>
                  <a:txBody>
                    <a:bodyPr/>
                    <a:lstStyle/>
                    <a:p>
                      <a:r>
                        <a:rPr lang="sv-SE" dirty="0"/>
                        <a:t>Lördag 30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230124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08.30-09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uk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31142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0.00-11.3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Handbollsträning + frukt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905878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1.45-13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Teori –Kärra HF Vision/Mission säsongsplanering/blockträning, Spelark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754490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3.00-14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Lunch – 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Sultan Palace (grillspett + ri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418685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4.00-15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Teori - handbo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028600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5.00-17.00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Handbollsträning + frukt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10697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7.00-17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Dus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7968008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7.30-18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Middag – </a:t>
                      </a:r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Sultan Palace (nötfärsbiff + stekt potatis)</a:t>
                      </a:r>
                      <a:endParaRPr lang="sv-SE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3264929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18.30-2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i le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4645854"/>
                  </a:ext>
                </a:extLst>
              </a:tr>
              <a:tr h="380436">
                <a:tc>
                  <a:txBody>
                    <a:bodyPr/>
                    <a:lstStyle/>
                    <a:p>
                      <a:r>
                        <a:rPr lang="sv-SE" sz="1200" dirty="0"/>
                        <a:t>21.00 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Korv m brö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15888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09C08B2-BBCC-AB34-5AF8-122ED139B1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049250"/>
              </p:ext>
            </p:extLst>
          </p:nvPr>
        </p:nvGraphicFramePr>
        <p:xfrm>
          <a:off x="8218556" y="1197407"/>
          <a:ext cx="3820160" cy="432364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10080">
                  <a:extLst>
                    <a:ext uri="{9D8B030D-6E8A-4147-A177-3AD203B41FA5}">
                      <a16:colId xmlns:a16="http://schemas.microsoft.com/office/drawing/2014/main" val="2618471783"/>
                    </a:ext>
                  </a:extLst>
                </a:gridCol>
                <a:gridCol w="1910080">
                  <a:extLst>
                    <a:ext uri="{9D8B030D-6E8A-4147-A177-3AD203B41FA5}">
                      <a16:colId xmlns:a16="http://schemas.microsoft.com/office/drawing/2014/main" val="3528999697"/>
                    </a:ext>
                  </a:extLst>
                </a:gridCol>
              </a:tblGrid>
              <a:tr h="480405">
                <a:tc>
                  <a:txBody>
                    <a:bodyPr/>
                    <a:lstStyle/>
                    <a:p>
                      <a:r>
                        <a:rPr lang="sv-SE" dirty="0"/>
                        <a:t>Söndag 1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230124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r>
                        <a:rPr lang="sv-SE" sz="1200" dirty="0"/>
                        <a:t>08.30-09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uk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31142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r>
                        <a:rPr lang="sv-SE" sz="1200" dirty="0"/>
                        <a:t>10.00-12.0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Handbollsträning + frukt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905878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r>
                        <a:rPr lang="sv-SE" sz="1200" dirty="0"/>
                        <a:t>12.00-1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Dus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754490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r>
                        <a:rPr lang="sv-SE" sz="1200" dirty="0"/>
                        <a:t>12.30-13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Lunch –Pizza</a:t>
                      </a:r>
                      <a:endParaRPr lang="sv-SE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418685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r>
                        <a:rPr lang="sv-SE" sz="1200" dirty="0"/>
                        <a:t>13.15-14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täd + avfä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010697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7968008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5157109"/>
                  </a:ext>
                </a:extLst>
              </a:tr>
              <a:tr h="480405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3264929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85006B75-C5A5-B762-1A6B-F38CBC4C5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442" y="132250"/>
            <a:ext cx="7399338" cy="577973"/>
          </a:xfrm>
        </p:spPr>
        <p:txBody>
          <a:bodyPr vert="horz"/>
          <a:lstStyle/>
          <a:p>
            <a:r>
              <a:rPr lang="en-GB" dirty="0" err="1"/>
              <a:t>Borgstena</a:t>
            </a:r>
            <a:r>
              <a:rPr lang="en-GB" dirty="0"/>
              <a:t> </a:t>
            </a:r>
            <a:r>
              <a:rPr lang="en-GB" dirty="0" err="1"/>
              <a:t>Träningsläger</a:t>
            </a:r>
            <a:r>
              <a:rPr lang="en-GB" dirty="0"/>
              <a:t> - Schem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F5184C-E3A0-9E2B-A2CB-318679464DAF}"/>
              </a:ext>
            </a:extLst>
          </p:cNvPr>
          <p:cNvSpPr/>
          <p:nvPr/>
        </p:nvSpPr>
        <p:spPr>
          <a:xfrm>
            <a:off x="10582275" y="47626"/>
            <a:ext cx="1514475" cy="590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263017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_DEF" val="2057"/>
  <p:tag name="LANG_NAME" val="English UK"/>
  <p:tag name="MASTCOUNT" val="1"/>
  <p:tag name="DES1LAYOUTCOUNT" val="60"/>
  <p:tag name="LINGO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SKF 2020">
  <a:themeElements>
    <a:clrScheme name="SKF 2020">
      <a:dk1>
        <a:sysClr val="windowText" lastClr="000000"/>
      </a:dk1>
      <a:lt1>
        <a:sysClr val="window" lastClr="FFFFFF"/>
      </a:lt1>
      <a:dk2>
        <a:srgbClr val="5F5F64"/>
      </a:dk2>
      <a:lt2>
        <a:srgbClr val="EBF0F0"/>
      </a:lt2>
      <a:accent1>
        <a:srgbClr val="264357"/>
      </a:accent1>
      <a:accent2>
        <a:srgbClr val="94ABA6"/>
      </a:accent2>
      <a:accent3>
        <a:srgbClr val="485A64"/>
      </a:accent3>
      <a:accent4>
        <a:srgbClr val="B2A799"/>
      </a:accent4>
      <a:accent5>
        <a:srgbClr val="0F58D6"/>
      </a:accent5>
      <a:accent6>
        <a:srgbClr val="46962B"/>
      </a:accent6>
      <a:hlink>
        <a:srgbClr val="0F58D6"/>
      </a:hlink>
      <a:folHlink>
        <a:srgbClr val="781E93"/>
      </a:folHlink>
    </a:clrScheme>
    <a:fontScheme name="SKF Calibri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8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KF PPT 2020.potx" id="{A44EF65F-37CF-4CB5-8426-D73A0B38DDF4}" vid="{D8D5E66A-D129-4503-A63B-E120812E1122}"/>
    </a:ext>
  </a:extLst>
</a:theme>
</file>

<file path=ppt/theme/theme2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467886"/>
      </a:hlink>
      <a:folHlink>
        <a:srgbClr val="96607D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46CD667E4335448EA6A36CBD3C9AAF" ma:contentTypeVersion="17" ma:contentTypeDescription="Create a new document." ma:contentTypeScope="" ma:versionID="2c88f31b4781b2776a8c7376bb172f59">
  <xsd:schema xmlns:xsd="http://www.w3.org/2001/XMLSchema" xmlns:xs="http://www.w3.org/2001/XMLSchema" xmlns:p="http://schemas.microsoft.com/office/2006/metadata/properties" xmlns:ns1="http://schemas.microsoft.com/sharepoint/v3" xmlns:ns2="27d747df-3ae7-4b39-bdf4-d2386b3c474f" xmlns:ns3="dbfdf458-13d0-4d8f-b0d9-aea8cb9822af" targetNamespace="http://schemas.microsoft.com/office/2006/metadata/properties" ma:root="true" ma:fieldsID="eede093df0dc0c9484f6ba8f2d3376c9" ns1:_="" ns2:_="" ns3:_="">
    <xsd:import namespace="http://schemas.microsoft.com/sharepoint/v3"/>
    <xsd:import namespace="27d747df-3ae7-4b39-bdf4-d2386b3c474f"/>
    <xsd:import namespace="dbfdf458-13d0-4d8f-b0d9-aea8cb9822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d747df-3ae7-4b39-bdf4-d2386b3c4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10430cd-861b-4a84-98ab-de752442a0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df458-13d0-4d8f-b0d9-aea8cb9822a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3962bcb-60cd-4eb4-b8cb-674a46fde384}" ma:internalName="TaxCatchAll" ma:showField="CatchAllData" ma:web="dbfdf458-13d0-4d8f-b0d9-aea8cb9822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7d747df-3ae7-4b39-bdf4-d2386b3c474f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  <TaxCatchAll xmlns="dbfdf458-13d0-4d8f-b0d9-aea8cb9822af" xsi:nil="true"/>
  </documentManagement>
</p:properties>
</file>

<file path=customXml/itemProps1.xml><?xml version="1.0" encoding="utf-8"?>
<ds:datastoreItem xmlns:ds="http://schemas.openxmlformats.org/officeDocument/2006/customXml" ds:itemID="{0B5E923A-6E1E-4F30-8811-17EEB7CD73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7d747df-3ae7-4b39-bdf4-d2386b3c474f"/>
    <ds:schemaRef ds:uri="dbfdf458-13d0-4d8f-b0d9-aea8cb9822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FD0C47-3DB1-4F6C-B64B-13C53C9298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35D98A-4E20-45EB-A93F-5B227E9C2F9F}">
  <ds:schemaRefs>
    <ds:schemaRef ds:uri="http://schemas.microsoft.com/office/2006/metadata/properties"/>
    <ds:schemaRef ds:uri="http://schemas.microsoft.com/office/infopath/2007/PartnerControls"/>
    <ds:schemaRef ds:uri="7ff0a519-25fc-4f8f-8aa2-e28558e40983"/>
    <ds:schemaRef ds:uri="27d747df-3ae7-4b39-bdf4-d2386b3c474f"/>
    <ds:schemaRef ds:uri="http://schemas.microsoft.com/sharepoint/v3"/>
    <ds:schemaRef ds:uri="dbfdf458-13d0-4d8f-b0d9-aea8cb9822af"/>
  </ds:schemaRefs>
</ds:datastoreItem>
</file>

<file path=docMetadata/LabelInfo.xml><?xml version="1.0" encoding="utf-8"?>
<clbl:labelList xmlns:clbl="http://schemas.microsoft.com/office/2020/mipLabelMetadata">
  <clbl:label id="{4ede1376-eff3-448c-a8a5-f3e79c769ae3}" enabled="1" method="Standard" siteId="{41875f2b-33e8-4670-92a8-f643afbb243a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</Words>
  <Application>Microsoft Office PowerPoint</Application>
  <PresentationFormat>Widescreen</PresentationFormat>
  <Paragraphs>4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SKF Sans Office</vt:lpstr>
      <vt:lpstr>Calibri Light</vt:lpstr>
      <vt:lpstr>Arial</vt:lpstr>
      <vt:lpstr>Calibri</vt:lpstr>
      <vt:lpstr>SKF 2020</vt:lpstr>
      <vt:lpstr>think-cell Slide</vt:lpstr>
      <vt:lpstr>Borgstena Träningsläger 29/8-1/9</vt:lpstr>
      <vt:lpstr>Borgstena Träningsläger - Schem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ter R Johansson</dc:creator>
  <cp:lastModifiedBy>Peter R Johansson</cp:lastModifiedBy>
  <cp:revision>1</cp:revision>
  <dcterms:created xsi:type="dcterms:W3CDTF">2025-08-15T08:43:24Z</dcterms:created>
  <dcterms:modified xsi:type="dcterms:W3CDTF">2025-08-15T14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46CD667E4335448EA6A36CBD3C9AAF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SKF 2020:7</vt:lpwstr>
  </property>
  <property fmtid="{D5CDD505-2E9C-101B-9397-08002B2CF9AE}" pid="5" name="ClassificationContentMarkingFooterText">
    <vt:lpwstr>Confidentiality: C2 – Internal </vt:lpwstr>
  </property>
</Properties>
</file>